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872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941B07-B28D-32C0-B2F3-2F3D92CACD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47630144-3F8A-E728-C696-7B8FD17E36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630144-3F8A-E728-C696-7B8FD17E36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3CE96A-9B8F-BA79-A8DC-81BB8DBC8F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AE2B1792-5C51-75AE-2E47-ED0D4CC4256B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Shape 20">
            <a:extLst>
              <a:ext uri="{FF2B5EF4-FFF2-40B4-BE49-F238E27FC236}">
                <a16:creationId xmlns:a16="http://schemas.microsoft.com/office/drawing/2014/main" id="{2A09337A-447E-8703-6E87-FFAD65CD627E}"/>
              </a:ext>
            </a:extLst>
          </p:cNvPr>
          <p:cNvSpPr/>
          <p:nvPr/>
        </p:nvSpPr>
        <p:spPr>
          <a:xfrm>
            <a:off x="4045122" y="1411330"/>
            <a:ext cx="3010736" cy="16826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077" h="21600" extrusionOk="0">
                <a:moveTo>
                  <a:pt x="5358" y="0"/>
                </a:moveTo>
                <a:cubicBezTo>
                  <a:pt x="3987" y="0"/>
                  <a:pt x="2615" y="961"/>
                  <a:pt x="1569" y="2879"/>
                </a:cubicBezTo>
                <a:cubicBezTo>
                  <a:pt x="-523" y="6715"/>
                  <a:pt x="-523" y="12932"/>
                  <a:pt x="1569" y="16768"/>
                </a:cubicBezTo>
                <a:cubicBezTo>
                  <a:pt x="2343" y="18188"/>
                  <a:pt x="3297" y="19081"/>
                  <a:pt x="4295" y="19450"/>
                </a:cubicBezTo>
                <a:cubicBezTo>
                  <a:pt x="4722" y="17509"/>
                  <a:pt x="5374" y="15769"/>
                  <a:pt x="6186" y="14298"/>
                </a:cubicBezTo>
                <a:cubicBezTo>
                  <a:pt x="9651" y="8018"/>
                  <a:pt x="15222" y="7992"/>
                  <a:pt x="18667" y="14298"/>
                </a:cubicBezTo>
                <a:cubicBezTo>
                  <a:pt x="19232" y="15331"/>
                  <a:pt x="19692" y="16479"/>
                  <a:pt x="20069" y="17690"/>
                </a:cubicBezTo>
                <a:lnTo>
                  <a:pt x="18925" y="17659"/>
                </a:lnTo>
                <a:lnTo>
                  <a:pt x="21077" y="21600"/>
                </a:lnTo>
                <a:lnTo>
                  <a:pt x="21027" y="16027"/>
                </a:lnTo>
                <a:lnTo>
                  <a:pt x="20273" y="17497"/>
                </a:lnTo>
                <a:cubicBezTo>
                  <a:pt x="19857" y="15913"/>
                  <a:pt x="19307" y="14418"/>
                  <a:pt x="18590" y="13104"/>
                </a:cubicBezTo>
                <a:cubicBezTo>
                  <a:pt x="16867" y="9944"/>
                  <a:pt x="14610" y="8364"/>
                  <a:pt x="12351" y="8364"/>
                </a:cubicBezTo>
                <a:cubicBezTo>
                  <a:pt x="11788" y="8364"/>
                  <a:pt x="11226" y="8462"/>
                  <a:pt x="10671" y="8658"/>
                </a:cubicBezTo>
                <a:cubicBezTo>
                  <a:pt x="10534" y="6546"/>
                  <a:pt x="10030" y="4500"/>
                  <a:pt x="9146" y="2879"/>
                </a:cubicBezTo>
                <a:cubicBezTo>
                  <a:pt x="8100" y="961"/>
                  <a:pt x="6729" y="0"/>
                  <a:pt x="5358" y="0"/>
                </a:cubicBezTo>
                <a:close/>
              </a:path>
            </a:pathLst>
          </a:custGeom>
          <a:solidFill>
            <a:schemeClr val="accent1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/>
          </a:p>
        </p:txBody>
      </p:sp>
      <p:sp>
        <p:nvSpPr>
          <p:cNvPr id="6" name="Shape 21">
            <a:extLst>
              <a:ext uri="{FF2B5EF4-FFF2-40B4-BE49-F238E27FC236}">
                <a16:creationId xmlns:a16="http://schemas.microsoft.com/office/drawing/2014/main" id="{90CE982D-763A-69C3-65D5-129F11DA43B2}"/>
              </a:ext>
            </a:extLst>
          </p:cNvPr>
          <p:cNvSpPr/>
          <p:nvPr/>
        </p:nvSpPr>
        <p:spPr>
          <a:xfrm>
            <a:off x="6395522" y="1410316"/>
            <a:ext cx="1681968" cy="3011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9" h="21076" extrusionOk="0">
                <a:moveTo>
                  <a:pt x="21599" y="5355"/>
                </a:moveTo>
                <a:cubicBezTo>
                  <a:pt x="21598" y="3984"/>
                  <a:pt x="20636" y="2613"/>
                  <a:pt x="18717" y="1567"/>
                </a:cubicBezTo>
                <a:cubicBezTo>
                  <a:pt x="14878" y="-524"/>
                  <a:pt x="8659" y="-523"/>
                  <a:pt x="4822" y="1570"/>
                </a:cubicBezTo>
                <a:cubicBezTo>
                  <a:pt x="3403" y="2344"/>
                  <a:pt x="2510" y="3298"/>
                  <a:pt x="2141" y="4296"/>
                </a:cubicBezTo>
                <a:cubicBezTo>
                  <a:pt x="4083" y="4722"/>
                  <a:pt x="5824" y="5374"/>
                  <a:pt x="7296" y="6185"/>
                </a:cubicBezTo>
                <a:cubicBezTo>
                  <a:pt x="13581" y="9649"/>
                  <a:pt x="13610" y="15219"/>
                  <a:pt x="7304" y="18665"/>
                </a:cubicBezTo>
                <a:cubicBezTo>
                  <a:pt x="6270" y="19230"/>
                  <a:pt x="5122" y="19690"/>
                  <a:pt x="3911" y="20068"/>
                </a:cubicBezTo>
                <a:lnTo>
                  <a:pt x="3941" y="18924"/>
                </a:lnTo>
                <a:lnTo>
                  <a:pt x="0" y="21076"/>
                </a:lnTo>
                <a:lnTo>
                  <a:pt x="5576" y="21025"/>
                </a:lnTo>
                <a:lnTo>
                  <a:pt x="4104" y="20271"/>
                </a:lnTo>
                <a:cubicBezTo>
                  <a:pt x="5689" y="19856"/>
                  <a:pt x="7183" y="19305"/>
                  <a:pt x="8498" y="18588"/>
                </a:cubicBezTo>
                <a:cubicBezTo>
                  <a:pt x="11658" y="16864"/>
                  <a:pt x="13237" y="14607"/>
                  <a:pt x="13236" y="12349"/>
                </a:cubicBezTo>
                <a:cubicBezTo>
                  <a:pt x="13235" y="11786"/>
                  <a:pt x="13137" y="11224"/>
                  <a:pt x="12940" y="10669"/>
                </a:cubicBezTo>
                <a:cubicBezTo>
                  <a:pt x="15053" y="10532"/>
                  <a:pt x="17101" y="10028"/>
                  <a:pt x="18721" y="9144"/>
                </a:cubicBezTo>
                <a:cubicBezTo>
                  <a:pt x="20640" y="8097"/>
                  <a:pt x="21600" y="6726"/>
                  <a:pt x="21599" y="5355"/>
                </a:cubicBezTo>
                <a:close/>
              </a:path>
            </a:pathLst>
          </a:custGeom>
          <a:solidFill>
            <a:schemeClr val="accent4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/>
          </a:p>
        </p:txBody>
      </p:sp>
      <p:sp>
        <p:nvSpPr>
          <p:cNvPr id="7" name="Shape 22">
            <a:extLst>
              <a:ext uri="{FF2B5EF4-FFF2-40B4-BE49-F238E27FC236}">
                <a16:creationId xmlns:a16="http://schemas.microsoft.com/office/drawing/2014/main" id="{95D659BC-1F43-F74F-4C4A-32632F791616}"/>
              </a:ext>
            </a:extLst>
          </p:cNvPr>
          <p:cNvSpPr/>
          <p:nvPr/>
        </p:nvSpPr>
        <p:spPr>
          <a:xfrm>
            <a:off x="5067481" y="3763974"/>
            <a:ext cx="3010735" cy="16826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077" h="21600" extrusionOk="0">
                <a:moveTo>
                  <a:pt x="15719" y="21600"/>
                </a:moveTo>
                <a:cubicBezTo>
                  <a:pt x="17090" y="21600"/>
                  <a:pt x="18462" y="20639"/>
                  <a:pt x="19508" y="18721"/>
                </a:cubicBezTo>
                <a:cubicBezTo>
                  <a:pt x="21600" y="14885"/>
                  <a:pt x="21600" y="8668"/>
                  <a:pt x="19508" y="4832"/>
                </a:cubicBezTo>
                <a:cubicBezTo>
                  <a:pt x="18734" y="3412"/>
                  <a:pt x="17780" y="2519"/>
                  <a:pt x="16782" y="2150"/>
                </a:cubicBezTo>
                <a:cubicBezTo>
                  <a:pt x="16355" y="4091"/>
                  <a:pt x="15703" y="5831"/>
                  <a:pt x="14891" y="7302"/>
                </a:cubicBezTo>
                <a:cubicBezTo>
                  <a:pt x="11426" y="13582"/>
                  <a:pt x="5855" y="13608"/>
                  <a:pt x="2410" y="7302"/>
                </a:cubicBezTo>
                <a:cubicBezTo>
                  <a:pt x="1845" y="6269"/>
                  <a:pt x="1385" y="5121"/>
                  <a:pt x="1008" y="3910"/>
                </a:cubicBezTo>
                <a:lnTo>
                  <a:pt x="2152" y="3941"/>
                </a:lnTo>
                <a:lnTo>
                  <a:pt x="0" y="0"/>
                </a:lnTo>
                <a:lnTo>
                  <a:pt x="50" y="5573"/>
                </a:lnTo>
                <a:lnTo>
                  <a:pt x="804" y="4103"/>
                </a:lnTo>
                <a:cubicBezTo>
                  <a:pt x="1220" y="5687"/>
                  <a:pt x="1770" y="7182"/>
                  <a:pt x="2487" y="8496"/>
                </a:cubicBezTo>
                <a:cubicBezTo>
                  <a:pt x="4210" y="11656"/>
                  <a:pt x="6467" y="13236"/>
                  <a:pt x="8726" y="13236"/>
                </a:cubicBezTo>
                <a:cubicBezTo>
                  <a:pt x="9289" y="13236"/>
                  <a:pt x="9851" y="13138"/>
                  <a:pt x="10406" y="12942"/>
                </a:cubicBezTo>
                <a:cubicBezTo>
                  <a:pt x="10543" y="15054"/>
                  <a:pt x="11047" y="17100"/>
                  <a:pt x="11931" y="18721"/>
                </a:cubicBezTo>
                <a:cubicBezTo>
                  <a:pt x="12977" y="20639"/>
                  <a:pt x="14348" y="21600"/>
                  <a:pt x="15719" y="21600"/>
                </a:cubicBezTo>
                <a:close/>
              </a:path>
            </a:pathLst>
          </a:custGeom>
          <a:solidFill>
            <a:schemeClr val="accent3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/>
          </a:p>
        </p:txBody>
      </p:sp>
      <p:sp>
        <p:nvSpPr>
          <p:cNvPr id="8" name="Shape 23">
            <a:extLst>
              <a:ext uri="{FF2B5EF4-FFF2-40B4-BE49-F238E27FC236}">
                <a16:creationId xmlns:a16="http://schemas.microsoft.com/office/drawing/2014/main" id="{2700AF2F-1C07-F76E-F591-21011A70641A}"/>
              </a:ext>
            </a:extLst>
          </p:cNvPr>
          <p:cNvSpPr/>
          <p:nvPr/>
        </p:nvSpPr>
        <p:spPr>
          <a:xfrm>
            <a:off x="4045847" y="2436650"/>
            <a:ext cx="1681968" cy="301103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9" h="21076" extrusionOk="0">
                <a:moveTo>
                  <a:pt x="0" y="15721"/>
                </a:moveTo>
                <a:cubicBezTo>
                  <a:pt x="1" y="17092"/>
                  <a:pt x="963" y="18463"/>
                  <a:pt x="2882" y="19509"/>
                </a:cubicBezTo>
                <a:cubicBezTo>
                  <a:pt x="6721" y="21600"/>
                  <a:pt x="12940" y="21599"/>
                  <a:pt x="16777" y="19506"/>
                </a:cubicBezTo>
                <a:cubicBezTo>
                  <a:pt x="18196" y="18732"/>
                  <a:pt x="19089" y="17778"/>
                  <a:pt x="19458" y="16780"/>
                </a:cubicBezTo>
                <a:cubicBezTo>
                  <a:pt x="17516" y="16354"/>
                  <a:pt x="15775" y="15702"/>
                  <a:pt x="14303" y="14891"/>
                </a:cubicBezTo>
                <a:cubicBezTo>
                  <a:pt x="8018" y="11427"/>
                  <a:pt x="7989" y="5857"/>
                  <a:pt x="14295" y="2411"/>
                </a:cubicBezTo>
                <a:cubicBezTo>
                  <a:pt x="15329" y="1846"/>
                  <a:pt x="16477" y="1386"/>
                  <a:pt x="17688" y="1008"/>
                </a:cubicBezTo>
                <a:lnTo>
                  <a:pt x="17658" y="2152"/>
                </a:lnTo>
                <a:lnTo>
                  <a:pt x="21599" y="0"/>
                </a:lnTo>
                <a:lnTo>
                  <a:pt x="16023" y="51"/>
                </a:lnTo>
                <a:lnTo>
                  <a:pt x="17495" y="805"/>
                </a:lnTo>
                <a:cubicBezTo>
                  <a:pt x="15910" y="1220"/>
                  <a:pt x="14416" y="1771"/>
                  <a:pt x="13101" y="2488"/>
                </a:cubicBezTo>
                <a:cubicBezTo>
                  <a:pt x="9941" y="4212"/>
                  <a:pt x="8362" y="6469"/>
                  <a:pt x="8363" y="8727"/>
                </a:cubicBezTo>
                <a:cubicBezTo>
                  <a:pt x="8364" y="9290"/>
                  <a:pt x="8462" y="9852"/>
                  <a:pt x="8659" y="10407"/>
                </a:cubicBezTo>
                <a:cubicBezTo>
                  <a:pt x="6546" y="10544"/>
                  <a:pt x="4498" y="11048"/>
                  <a:pt x="2878" y="11932"/>
                </a:cubicBezTo>
                <a:cubicBezTo>
                  <a:pt x="959" y="12979"/>
                  <a:pt x="-1" y="14350"/>
                  <a:pt x="0" y="15721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BAA0454-20C2-C437-A091-E00A5EF6EDA0}"/>
              </a:ext>
            </a:extLst>
          </p:cNvPr>
          <p:cNvSpPr txBox="1">
            <a:spLocks/>
          </p:cNvSpPr>
          <p:nvPr/>
        </p:nvSpPr>
        <p:spPr>
          <a:xfrm>
            <a:off x="4970151" y="3281270"/>
            <a:ext cx="2182159" cy="433612"/>
          </a:xfrm>
          <a:prstGeom prst="rect">
            <a:avLst/>
          </a:prstGeom>
        </p:spPr>
        <p:txBody>
          <a:bodyPr/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152">
              <a:buClr>
                <a:srgbClr val="0070C0"/>
              </a:buClr>
              <a:defRPr/>
            </a:pPr>
            <a:r>
              <a:rPr lang="en-IN" sz="2800" b="1" dirty="0">
                <a:latin typeface="+mn-lt"/>
                <a:ea typeface="Open Sans ExtraBold" charset="0"/>
                <a:cs typeface="Open Sans ExtraBold" charset="0"/>
              </a:rPr>
              <a:t>Header</a:t>
            </a:r>
            <a:endParaRPr lang="en-IN" sz="1100" dirty="0">
              <a:latin typeface="+mn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119048E-B409-6F1D-9F58-FF47EB80748F}"/>
              </a:ext>
            </a:extLst>
          </p:cNvPr>
          <p:cNvSpPr txBox="1"/>
          <p:nvPr/>
        </p:nvSpPr>
        <p:spPr>
          <a:xfrm>
            <a:off x="8307178" y="1742548"/>
            <a:ext cx="2733999" cy="770962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4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1FEDA29-E70E-2837-E118-832B97DDEF1A}"/>
              </a:ext>
            </a:extLst>
          </p:cNvPr>
          <p:cNvSpPr txBox="1"/>
          <p:nvPr/>
        </p:nvSpPr>
        <p:spPr>
          <a:xfrm>
            <a:off x="1163017" y="1742548"/>
            <a:ext cx="2588480" cy="934918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1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accent1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1C93A83-9974-2847-8AE8-1CA0328D9277}"/>
              </a:ext>
            </a:extLst>
          </p:cNvPr>
          <p:cNvSpPr txBox="1"/>
          <p:nvPr/>
        </p:nvSpPr>
        <p:spPr>
          <a:xfrm>
            <a:off x="1129545" y="4329258"/>
            <a:ext cx="2588480" cy="934918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2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accent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2294C94-CC89-3F34-9393-FEA42435EB76}"/>
              </a:ext>
            </a:extLst>
          </p:cNvPr>
          <p:cNvSpPr txBox="1"/>
          <p:nvPr/>
        </p:nvSpPr>
        <p:spPr>
          <a:xfrm>
            <a:off x="8328456" y="4329258"/>
            <a:ext cx="2733999" cy="770962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3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24" name="Star: 4 Points 23">
            <a:extLst>
              <a:ext uri="{FF2B5EF4-FFF2-40B4-BE49-F238E27FC236}">
                <a16:creationId xmlns:a16="http://schemas.microsoft.com/office/drawing/2014/main" id="{183F849C-A4C9-9183-3656-8F1592BC058A}"/>
              </a:ext>
            </a:extLst>
          </p:cNvPr>
          <p:cNvSpPr/>
          <p:nvPr/>
        </p:nvSpPr>
        <p:spPr>
          <a:xfrm>
            <a:off x="4514199" y="1875460"/>
            <a:ext cx="324682" cy="324682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Star: 4 Points 24">
            <a:extLst>
              <a:ext uri="{FF2B5EF4-FFF2-40B4-BE49-F238E27FC236}">
                <a16:creationId xmlns:a16="http://schemas.microsoft.com/office/drawing/2014/main" id="{A69D5637-F596-BEBE-19DF-76F080414BB3}"/>
              </a:ext>
            </a:extLst>
          </p:cNvPr>
          <p:cNvSpPr/>
          <p:nvPr/>
        </p:nvSpPr>
        <p:spPr>
          <a:xfrm>
            <a:off x="7202480" y="1871622"/>
            <a:ext cx="324682" cy="324682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Star: 4 Points 25">
            <a:extLst>
              <a:ext uri="{FF2B5EF4-FFF2-40B4-BE49-F238E27FC236}">
                <a16:creationId xmlns:a16="http://schemas.microsoft.com/office/drawing/2014/main" id="{72CBC07B-6E5C-E3AB-89F6-59D2B000ACA1}"/>
              </a:ext>
            </a:extLst>
          </p:cNvPr>
          <p:cNvSpPr/>
          <p:nvPr/>
        </p:nvSpPr>
        <p:spPr>
          <a:xfrm>
            <a:off x="4514199" y="4607278"/>
            <a:ext cx="324682" cy="324682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Star: 4 Points 26">
            <a:extLst>
              <a:ext uri="{FF2B5EF4-FFF2-40B4-BE49-F238E27FC236}">
                <a16:creationId xmlns:a16="http://schemas.microsoft.com/office/drawing/2014/main" id="{A2FF4A22-CE03-6CC9-0CF4-C22B4D11A050}"/>
              </a:ext>
            </a:extLst>
          </p:cNvPr>
          <p:cNvSpPr/>
          <p:nvPr/>
        </p:nvSpPr>
        <p:spPr>
          <a:xfrm>
            <a:off x="7202480" y="4607278"/>
            <a:ext cx="324682" cy="324682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06884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5</TotalTime>
  <Words>88</Words>
  <Application>Microsoft Office PowerPoint</Application>
  <PresentationFormat>Widescreen</PresentationFormat>
  <Paragraphs>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ourier New</vt:lpstr>
      <vt:lpstr>Crimson Pro</vt:lpstr>
      <vt:lpstr>Open Sans Light</vt:lpstr>
      <vt:lpstr>Roboto</vt:lpstr>
      <vt:lpstr>Wingdings</vt:lpstr>
      <vt:lpstr>Office Theme</vt:lpstr>
      <vt:lpstr>think-cell Slide</vt:lpstr>
      <vt:lpstr>Circular layout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504</cp:revision>
  <dcterms:created xsi:type="dcterms:W3CDTF">2021-03-31T02:49:57Z</dcterms:created>
  <dcterms:modified xsi:type="dcterms:W3CDTF">2025-10-16T10:56:56Z</dcterms:modified>
  <cp:category/>
</cp:coreProperties>
</file>